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%20march&#233;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%20march&#233;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%20march&#233;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%20march&#233;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%20march&#233;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%20march&#233;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44EC40F-E3D0-4FFE-A5A7-062B1C00490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BFF9754-389F-45BB-BFE8-69228803E90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B17A217F-8DD7-4556-99ED-D3834280800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0C3C85C-4BBD-498C-9E5D-AC7C29261E3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C03A7CF-B670-4277-A154-FF0EA681940C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47E75C5-F1C2-454C-816C-BF33E5AEDC4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341EF91-DDDE-4DF6-89A2-92B28F8B149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87E0B19-E3D0-4A95-9536-2FB25734D9A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07651ED-7B9C-4659-93F6-F4F90772112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4A8B4E1-5D38-40BE-B45C-DC0829A99BA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BFCC69AB-0C3C-4B0A-ADF2-ACAC5108CD9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71A7B9F-EDC5-4E0E-926F-F14EE54D2D6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53E24C6-B15F-435F-8BF2-550BC0448C4F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60FF963-45A3-499C-B61C-5BFD24AF6EA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7606AB7-48CA-4444-A018-E6EEAF9955D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58928C6-5585-4911-A744-260102FA5ED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17B3DDB-6E53-43C8-B6DD-514F93107A2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352B0FB-FA57-4076-99E0-CFBB82A27CD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59C1E9E-8B33-4803-AD41-4ED0B305673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BE38E30-4C92-49F3-B633-7C838E72E8F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33DF880-298A-4E09-B7F8-B4EDD4F8034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66FFB92-245B-4A9B-B58F-1375932AC9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4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9</cp:revision>
  <dcterms:created xsi:type="dcterms:W3CDTF">2025-05-09T11:21:43Z</dcterms:created>
  <dcterms:modified xsi:type="dcterms:W3CDTF">2025-10-04T14:57:15Z</dcterms:modified>
</cp:coreProperties>
</file>